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heme/theme2.xml" ContentType="application/vnd.openxmlformats-officedocument.them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heme/theme3.xml" ContentType="application/vnd.openxmlformats-officedocument.them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notesSlides/notesSlide1.xml" ContentType="application/vnd.openxmlformats-officedocument.presentationml.notesSlide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notesSlides/notesSlide2.xml" ContentType="application/vnd.openxmlformats-officedocument.presentationml.notesSlide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26"/>
  </p:notesMasterIdLst>
  <p:handoutMasterIdLst>
    <p:handoutMasterId r:id="rId27"/>
  </p:handoutMasterIdLst>
  <p:sldIdLst>
    <p:sldId id="267" r:id="rId6"/>
    <p:sldId id="2147474709" r:id="rId7"/>
    <p:sldId id="305" r:id="rId8"/>
    <p:sldId id="2147474695" r:id="rId9"/>
    <p:sldId id="2147474699" r:id="rId10"/>
    <p:sldId id="2147474697" r:id="rId11"/>
    <p:sldId id="2147474710" r:id="rId12"/>
    <p:sldId id="269" r:id="rId13"/>
    <p:sldId id="2147474700" r:id="rId14"/>
    <p:sldId id="2147474701" r:id="rId15"/>
    <p:sldId id="2147474702" r:id="rId16"/>
    <p:sldId id="270" r:id="rId17"/>
    <p:sldId id="271" r:id="rId18"/>
    <p:sldId id="2147474705" r:id="rId19"/>
    <p:sldId id="2147474703" r:id="rId20"/>
    <p:sldId id="2147474711" r:id="rId21"/>
    <p:sldId id="2147474698" r:id="rId22"/>
    <p:sldId id="2147474706" r:id="rId23"/>
    <p:sldId id="2147474707" r:id="rId24"/>
    <p:sldId id="2147474704" r:id="rId25"/>
  </p:sldIdLst>
  <p:sldSz cx="12192000" cy="6858000"/>
  <p:notesSz cx="7099300" cy="10234613"/>
  <p:custDataLst>
    <p:tags r:id="rId2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0A0CECC-EA02-46C0-B348-167FC9917A0E}">
          <p14:sldIdLst>
            <p14:sldId id="267"/>
            <p14:sldId id="2147474709"/>
            <p14:sldId id="305"/>
          </p14:sldIdLst>
        </p14:section>
        <p14:section name="Intro: Motivation" id="{DE4B6DB7-6DE1-447E-A12C-264CE1CFF4E5}">
          <p14:sldIdLst>
            <p14:sldId id="2147474695"/>
            <p14:sldId id="2147474699"/>
            <p14:sldId id="2147474697"/>
          </p14:sldIdLst>
        </p14:section>
        <p14:section name="Ifxapp: Overview" id="{7F915026-9352-4EF9-943D-011D178AC552}">
          <p14:sldIdLst>
            <p14:sldId id="2147474710"/>
            <p14:sldId id="269"/>
            <p14:sldId id="2147474700"/>
            <p14:sldId id="2147474701"/>
            <p14:sldId id="2147474702"/>
            <p14:sldId id="270"/>
            <p14:sldId id="271"/>
            <p14:sldId id="2147474705"/>
            <p14:sldId id="2147474703"/>
          </p14:sldIdLst>
        </p14:section>
        <p14:section name="Ifxapp: Demos" id="{D35A3DEA-C6B5-4C31-B74E-F66C13D7B0F1}">
          <p14:sldIdLst>
            <p14:sldId id="2147474711"/>
            <p14:sldId id="2147474698"/>
            <p14:sldId id="2147474706"/>
            <p14:sldId id="2147474707"/>
            <p14:sldId id="2147474704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5" autoAdjust="0"/>
    <p:restoredTop sz="94696" autoAdjust="0"/>
  </p:normalViewPr>
  <p:slideViewPr>
    <p:cSldViewPr snapToObjects="1" showGuides="1">
      <p:cViewPr varScale="1">
        <p:scale>
          <a:sx n="105" d="100"/>
          <a:sy n="105" d="100"/>
        </p:scale>
        <p:origin x="834" y="96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12" Type="http://schemas.openxmlformats.org/officeDocument/2006/relationships/image" Target="../media/image7.png"/><Relationship Id="rId2" Type="http://schemas.openxmlformats.org/officeDocument/2006/relationships/tags" Target="../tags/tag205.xml"/><Relationship Id="rId1" Type="http://schemas.openxmlformats.org/officeDocument/2006/relationships/theme" Target="../theme/theme3.xml"/><Relationship Id="rId6" Type="http://schemas.openxmlformats.org/officeDocument/2006/relationships/tags" Target="../tags/tag209.xml"/><Relationship Id="rId11" Type="http://schemas.openxmlformats.org/officeDocument/2006/relationships/tags" Target="../tags/tag214.xml"/><Relationship Id="rId5" Type="http://schemas.openxmlformats.org/officeDocument/2006/relationships/tags" Target="../tags/tag208.xml"/><Relationship Id="rId10" Type="http://schemas.openxmlformats.org/officeDocument/2006/relationships/tags" Target="../tags/tag213.xml"/><Relationship Id="rId4" Type="http://schemas.openxmlformats.org/officeDocument/2006/relationships/tags" Target="../tags/tag207.xml"/><Relationship Id="rId9" Type="http://schemas.openxmlformats.org/officeDocument/2006/relationships/tags" Target="../tags/tag2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 hidden="1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5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 hidden="1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 hidden="1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4-10-21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image" Target="../media/image7.png"/><Relationship Id="rId2" Type="http://schemas.openxmlformats.org/officeDocument/2006/relationships/tags" Target="../tags/tag195.xml"/><Relationship Id="rId1" Type="http://schemas.openxmlformats.org/officeDocument/2006/relationships/theme" Target="../theme/theme2.xml"/><Relationship Id="rId6" Type="http://schemas.openxmlformats.org/officeDocument/2006/relationships/tags" Target="../tags/tag199.xml"/><Relationship Id="rId11" Type="http://schemas.openxmlformats.org/officeDocument/2006/relationships/tags" Target="../tags/tag204.xml"/><Relationship Id="rId5" Type="http://schemas.openxmlformats.org/officeDocument/2006/relationships/tags" Target="../tags/tag198.xml"/><Relationship Id="rId10" Type="http://schemas.openxmlformats.org/officeDocument/2006/relationships/tags" Target="../tags/tag203.xml"/><Relationship Id="rId4" Type="http://schemas.openxmlformats.org/officeDocument/2006/relationships/tags" Target="../tags/tag197.xml"/><Relationship Id="rId9" Type="http://schemas.openxmlformats.org/officeDocument/2006/relationships/tags" Target="../tags/tag20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 hidden="1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5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 hidden="1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 hidden="1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4-10-21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 warm welcome from my side.</a:t>
            </a:r>
          </a:p>
          <a:p>
            <a:r>
              <a:rPr lang="en-US" dirty="0"/>
              <a:t>I am Benedikt, a SW developer here in the APP team of PSS RFS.</a:t>
            </a:r>
          </a:p>
          <a:p>
            <a:r>
              <a:rPr lang="en-US" dirty="0"/>
              <a:t>As APP team we support HW bring-up activities by providing initial FWs or just to visualize data. We are also servicing customer requests (for example: A customer says we require a Python script to fetch data from a </a:t>
            </a:r>
            <a:r>
              <a:rPr lang="en-US" dirty="0" err="1"/>
              <a:t>Smartar</a:t>
            </a:r>
            <a:r>
              <a:rPr lang="en-US" dirty="0"/>
              <a:t> sensor).</a:t>
            </a: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53353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the forefront we have the GUI which offers so called event producer widgets and consumer widgets (you could also think of data sources and sinks).</a:t>
            </a:r>
          </a:p>
          <a:p>
            <a:r>
              <a:rPr lang="en-US" dirty="0"/>
              <a:t>In the right pillar events are directly read from files or </a:t>
            </a:r>
            <a:r>
              <a:rPr lang="en-US" dirty="0" err="1"/>
              <a:t>websocket</a:t>
            </a:r>
            <a:r>
              <a:rPr lang="en-US" dirty="0"/>
              <a:t>.</a:t>
            </a:r>
          </a:p>
          <a:p>
            <a:r>
              <a:rPr lang="en-US" dirty="0"/>
              <a:t>In the left pillar, first raw radar frames are fetched from a radar sensor and then an algo is fed with this data.</a:t>
            </a:r>
          </a:p>
          <a:p>
            <a:r>
              <a:rPr lang="en-US" dirty="0"/>
              <a:t>This structure is also reflected in the repo structure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2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90556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how HTML documentat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3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56779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how HTML documentat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68336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e-DE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 dirty="0"/>
              <a:t>2020-09-28</a:t>
            </a:r>
          </a:p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pPr/>
              <a:t>16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2834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how you also that only a few lines of code are necessary to obtain such a main window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7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76421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presence example is more a full-fledged app where also a dummy implementation of an algo is hooked in.</a:t>
            </a:r>
          </a:p>
          <a:p>
            <a:r>
              <a:rPr lang="en-US" dirty="0"/>
              <a:t>I.e.,  raw radar frames are fetched from radar sensors or devices, an algo processes these frames and the outputted events are visualized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8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32567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9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6952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 set the stage: This will be a tool overview and not a deep dive into the code. We could have a separate session on that. And, please interrupt me if you have any questions.</a:t>
            </a:r>
          </a:p>
          <a:p>
            <a:r>
              <a:rPr lang="en-US" dirty="0"/>
              <a:t>I divided the presentation into three topics.</a:t>
            </a:r>
          </a:p>
          <a:p>
            <a:r>
              <a:rPr lang="en-US" dirty="0"/>
              <a:t>What’s the motivation behind </a:t>
            </a:r>
            <a:r>
              <a:rPr lang="en-US" dirty="0" err="1"/>
              <a:t>ifxapp</a:t>
            </a:r>
            <a:r>
              <a:rPr lang="en-US" dirty="0"/>
              <a:t>.</a:t>
            </a:r>
          </a:p>
          <a:p>
            <a:r>
              <a:rPr lang="en-US" dirty="0"/>
              <a:t>What is it.</a:t>
            </a:r>
          </a:p>
          <a:p>
            <a:r>
              <a:rPr lang="en-US" dirty="0"/>
              <a:t>And finally some live demos so you get a good impression what you can do with 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87239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e-DE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 dirty="0"/>
              <a:t>2020-09-28</a:t>
            </a:r>
          </a:p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2834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57600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A8276"/>
              </a:buClr>
              <a:buSzPct val="100000"/>
              <a:buFontTx/>
              <a:buChar char="-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Common look &amp; feel</a:t>
            </a:r>
          </a:p>
          <a:p>
            <a:pPr marL="171450" marR="0" lvl="0" indent="-171450" algn="l" defTabSz="57600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A8276"/>
              </a:buClr>
              <a:buSzPct val="100000"/>
              <a:buFontTx/>
              <a:buChar char="-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Can be used across different projects</a:t>
            </a:r>
          </a:p>
          <a:p>
            <a:pPr marL="171450" marR="0" lvl="0" indent="-171450" algn="l" defTabSz="57600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A8276"/>
              </a:buClr>
              <a:buSzPct val="100000"/>
              <a:buFontTx/>
              <a:buChar char="-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Builds up abstractions (embedded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dev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 can focus on data communication, algo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dev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 on algo development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6992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nal sentence: This is the context in which </a:t>
            </a:r>
            <a:r>
              <a:rPr lang="en-US" dirty="0" err="1"/>
              <a:t>ifxapp</a:t>
            </a:r>
            <a:r>
              <a:rPr lang="en-US" dirty="0"/>
              <a:t> was and is developed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53210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e-DE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 dirty="0"/>
              <a:t>2020-09-28</a:t>
            </a:r>
          </a:p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de-DE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2834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se are small and uttermost testable GUI widgets!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73786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t of these GUI widgets you can easily create a main window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9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83364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uring development, the </a:t>
            </a:r>
            <a:r>
              <a:rPr lang="en-US" dirty="0" err="1"/>
              <a:t>ifxapp</a:t>
            </a:r>
            <a:r>
              <a:rPr lang="en-US" dirty="0"/>
              <a:t> scope was extended to also access radar sensors (via Strata and the CSK)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0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00817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1.jpg"/><Relationship Id="rId5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tags" Target="../tags/tag103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0" Type="http://schemas.openxmlformats.org/officeDocument/2006/relationships/tags" Target="../tags/tag113.xml"/><Relationship Id="rId4" Type="http://schemas.openxmlformats.org/officeDocument/2006/relationships/tags" Target="../tags/tag107.xml"/><Relationship Id="rId9" Type="http://schemas.openxmlformats.org/officeDocument/2006/relationships/tags" Target="../tags/tag11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tags" Target="../tags/tag127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11" Type="http://schemas.openxmlformats.org/officeDocument/2006/relationships/tags" Target="../tags/tag126.xml"/><Relationship Id="rId5" Type="http://schemas.openxmlformats.org/officeDocument/2006/relationships/tags" Target="../tags/tag120.xml"/><Relationship Id="rId10" Type="http://schemas.openxmlformats.org/officeDocument/2006/relationships/tags" Target="../tags/tag125.xml"/><Relationship Id="rId4" Type="http://schemas.openxmlformats.org/officeDocument/2006/relationships/tags" Target="../tags/tag119.xml"/><Relationship Id="rId9" Type="http://schemas.openxmlformats.org/officeDocument/2006/relationships/tags" Target="../tags/tag12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0" Type="http://schemas.openxmlformats.org/officeDocument/2006/relationships/tags" Target="../tags/tag137.xml"/><Relationship Id="rId4" Type="http://schemas.openxmlformats.org/officeDocument/2006/relationships/tags" Target="../tags/tag131.xml"/><Relationship Id="rId9" Type="http://schemas.openxmlformats.org/officeDocument/2006/relationships/tags" Target="../tags/tag136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12" Type="http://schemas.openxmlformats.org/officeDocument/2006/relationships/tags" Target="../tags/tag151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11" Type="http://schemas.openxmlformats.org/officeDocument/2006/relationships/tags" Target="../tags/tag150.xml"/><Relationship Id="rId5" Type="http://schemas.openxmlformats.org/officeDocument/2006/relationships/tags" Target="../tags/tag144.xml"/><Relationship Id="rId10" Type="http://schemas.openxmlformats.org/officeDocument/2006/relationships/tags" Target="../tags/tag149.xml"/><Relationship Id="rId4" Type="http://schemas.openxmlformats.org/officeDocument/2006/relationships/tags" Target="../tags/tag143.xml"/><Relationship Id="rId9" Type="http://schemas.openxmlformats.org/officeDocument/2006/relationships/tags" Target="../tags/tag14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59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54.xml"/><Relationship Id="rId7" Type="http://schemas.openxmlformats.org/officeDocument/2006/relationships/tags" Target="../tags/tag158.xml"/><Relationship Id="rId12" Type="http://schemas.openxmlformats.org/officeDocument/2006/relationships/tags" Target="../tags/tag163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tags" Target="../tags/tag157.xml"/><Relationship Id="rId11" Type="http://schemas.openxmlformats.org/officeDocument/2006/relationships/tags" Target="../tags/tag162.xml"/><Relationship Id="rId5" Type="http://schemas.openxmlformats.org/officeDocument/2006/relationships/tags" Target="../tags/tag156.xml"/><Relationship Id="rId10" Type="http://schemas.openxmlformats.org/officeDocument/2006/relationships/tags" Target="../tags/tag161.xml"/><Relationship Id="rId4" Type="http://schemas.openxmlformats.org/officeDocument/2006/relationships/tags" Target="../tags/tag155.xml"/><Relationship Id="rId9" Type="http://schemas.openxmlformats.org/officeDocument/2006/relationships/tags" Target="../tags/tag160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tags" Target="../tags/tag175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11" Type="http://schemas.openxmlformats.org/officeDocument/2006/relationships/tags" Target="../tags/tag174.xml"/><Relationship Id="rId5" Type="http://schemas.openxmlformats.org/officeDocument/2006/relationships/tags" Target="../tags/tag168.xml"/><Relationship Id="rId10" Type="http://schemas.openxmlformats.org/officeDocument/2006/relationships/tags" Target="../tags/tag173.xml"/><Relationship Id="rId4" Type="http://schemas.openxmlformats.org/officeDocument/2006/relationships/tags" Target="../tags/tag167.xml"/><Relationship Id="rId9" Type="http://schemas.openxmlformats.org/officeDocument/2006/relationships/tags" Target="../tags/tag17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11" Type="http://schemas.openxmlformats.org/officeDocument/2006/relationships/tags" Target="../tags/tag186.xml"/><Relationship Id="rId5" Type="http://schemas.openxmlformats.org/officeDocument/2006/relationships/tags" Target="../tags/tag180.xml"/><Relationship Id="rId10" Type="http://schemas.openxmlformats.org/officeDocument/2006/relationships/tags" Target="../tags/tag185.xml"/><Relationship Id="rId4" Type="http://schemas.openxmlformats.org/officeDocument/2006/relationships/tags" Target="../tags/tag179.xml"/><Relationship Id="rId9" Type="http://schemas.openxmlformats.org/officeDocument/2006/relationships/tags" Target="../tags/tag18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image" Target="../media/image3.jpeg"/><Relationship Id="rId5" Type="http://schemas.openxmlformats.org/officeDocument/2006/relationships/tags" Target="../tags/tag1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8.xml"/><Relationship Id="rId9" Type="http://schemas.openxmlformats.org/officeDocument/2006/relationships/tags" Target="../tags/tag23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7" Type="http://schemas.openxmlformats.org/officeDocument/2006/relationships/image" Target="../media/image2.png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4.xml"/><Relationship Id="rId4" Type="http://schemas.openxmlformats.org/officeDocument/2006/relationships/tags" Target="../tags/tag19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image" Target="../media/image4.jpg"/><Relationship Id="rId4" Type="http://schemas.openxmlformats.org/officeDocument/2006/relationships/tags" Target="../tags/tag27.xml"/><Relationship Id="rId9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10" Type="http://schemas.openxmlformats.org/officeDocument/2006/relationships/image" Target="../media/image5.jpeg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3.xml"/><Relationship Id="rId9" Type="http://schemas.openxmlformats.org/officeDocument/2006/relationships/tags" Target="../tags/tag48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 hidden="1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92DC6926-96FF-4BB1-823E-5F2FFE796E7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 hidden="1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 hidden="1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 hidden="1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10-21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 hidden="1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 hidden="1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 hidden="1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10-21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 hidden="1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 hidden="1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 hidden="1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10-21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 hidden="1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 hidden="1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 hidden="1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10-21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 hidden="1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 hidden="1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 hidden="1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10-21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 hidden="1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 hidden="1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 hidden="1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10-21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 hidden="1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 hidden="1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 hidden="1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10-21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 hidden="1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 hidden="1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 hidden="1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10-21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912424" y="236633"/>
            <a:ext cx="1772684" cy="960119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13" name="Crystal Shape">
            <a:extLst>
              <a:ext uri="{FF2B5EF4-FFF2-40B4-BE49-F238E27FC236}">
                <a16:creationId xmlns:a16="http://schemas.microsoft.com/office/drawing/2014/main" id="{A4208110-E884-BAAA-527C-E592A2F7FA29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 hidden="1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2692289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D664F82-C381-42D9-B168-31F6D4282D2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446" y="2755984"/>
            <a:ext cx="3077814" cy="134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0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 hidden="1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OGO PROTECTION">
            <a:extLst>
              <a:ext uri="{FF2B5EF4-FFF2-40B4-BE49-F238E27FC236}">
                <a16:creationId xmlns:a16="http://schemas.microsoft.com/office/drawing/2014/main" id="{4DCE96B1-83D3-EAE7-D992-044F49F60C08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263352" y="236633"/>
            <a:ext cx="1772684" cy="960119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pic>
        <p:nvPicPr>
          <p:cNvPr id="2" name="Picture 1" descr="A close-up of a plant&#10;&#10;Description automatically generated">
            <a:extLst>
              <a:ext uri="{FF2B5EF4-FFF2-40B4-BE49-F238E27FC236}">
                <a16:creationId xmlns:a16="http://schemas.microsoft.com/office/drawing/2014/main" id="{D8A43A75-D6CE-2257-415C-1E0787C2AD1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06538" cy="6858000"/>
          </a:xfrm>
          <a:prstGeom prst="rect">
            <a:avLst/>
          </a:prstGeom>
        </p:spPr>
      </p:pic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 hidden="1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627589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 hidden="1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 hidden="1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 hidden="1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 hidden="1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10-21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 hidden="1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 hidden="1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 hidden="1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10-21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footer_placeholder" hidden="1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5. All rights reserved.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 hidden="1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empower_date_placeholder" hidden="1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10-21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 userDrawn="1"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4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5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en-US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en-US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7" r:id="rId2"/>
    <p:sldLayoutId id="2147483755" r:id="rId3"/>
    <p:sldLayoutId id="2147483758" r:id="rId4"/>
    <p:sldLayoutId id="2147483751" r:id="rId5"/>
    <p:sldLayoutId id="2147483729" r:id="rId6"/>
    <p:sldLayoutId id="2147483730" r:id="rId7"/>
    <p:sldLayoutId id="2147483731" r:id="rId8"/>
    <p:sldLayoutId id="2147483747" r:id="rId9"/>
    <p:sldLayoutId id="2147483756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  <p:sldLayoutId id="2147483754" r:id="rId19"/>
    <p:sldLayoutId id="2147483753" r:id="rId20"/>
  </p:sldLayoutIdLst>
  <p:hf sldNum="0" hdr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NULL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NULL" TargetMode="External"/><Relationship Id="rId2" Type="http://schemas.openxmlformats.org/officeDocument/2006/relationships/hyperlink" Target="NULL" TargetMode="Externa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NULL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png"/><Relationship Id="rId5" Type="http://schemas.openxmlformats.org/officeDocument/2006/relationships/hyperlink" Target="https://gitlab.acme.com/pss/ifxapp/-/releases" TargetMode="External"/><Relationship Id="rId4" Type="http://schemas.openxmlformats.org/officeDocument/2006/relationships/hyperlink" Target="NULL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svg"/><Relationship Id="rId3" Type="http://schemas.openxmlformats.org/officeDocument/2006/relationships/hyperlink" Target="NULL" TargetMode="External"/><Relationship Id="rId7" Type="http://schemas.openxmlformats.org/officeDocument/2006/relationships/image" Target="../media/image19.svg"/><Relationship Id="rId12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8.png"/><Relationship Id="rId11" Type="http://schemas.openxmlformats.org/officeDocument/2006/relationships/image" Target="../media/image23.svg"/><Relationship Id="rId5" Type="http://schemas.openxmlformats.org/officeDocument/2006/relationships/hyperlink" Target="https://gitlab.acme.com/pss/ifxapp/-/releases" TargetMode="External"/><Relationship Id="rId15" Type="http://schemas.openxmlformats.org/officeDocument/2006/relationships/image" Target="../media/image27.svg"/><Relationship Id="rId10" Type="http://schemas.openxmlformats.org/officeDocument/2006/relationships/image" Target="../media/image22.png"/><Relationship Id="rId4" Type="http://schemas.openxmlformats.org/officeDocument/2006/relationships/hyperlink" Target="NULL" TargetMode="External"/><Relationship Id="rId9" Type="http://schemas.openxmlformats.org/officeDocument/2006/relationships/image" Target="../media/image21.svg"/><Relationship Id="rId1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4" Type="http://schemas.openxmlformats.org/officeDocument/2006/relationships/notesSlide" Target="../notesSlides/notesSlide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hyperlink" Target="NULL" TargetMode="External"/><Relationship Id="rId7" Type="http://schemas.openxmlformats.org/officeDocument/2006/relationships/hyperlink" Target="NULL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hyperlink" Target="NULL" TargetMode="External"/><Relationship Id="rId5" Type="http://schemas.openxmlformats.org/officeDocument/2006/relationships/hyperlink" Target="NULL" TargetMode="External"/><Relationship Id="rId4" Type="http://schemas.openxmlformats.org/officeDocument/2006/relationships/hyperlink" Target="NULL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hyperlink" Target="NULL" TargetMode="External"/><Relationship Id="rId7" Type="http://schemas.openxmlformats.org/officeDocument/2006/relationships/hyperlink" Target="NULL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6" Type="http://schemas.openxmlformats.org/officeDocument/2006/relationships/hyperlink" Target="NULL" TargetMode="External"/><Relationship Id="rId5" Type="http://schemas.openxmlformats.org/officeDocument/2006/relationships/hyperlink" Target="NULL" TargetMode="External"/><Relationship Id="rId4" Type="http://schemas.openxmlformats.org/officeDocument/2006/relationships/hyperlink" Target="NULL" TargetMode="Externa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hyperlink" Target="NULL" TargetMode="External"/><Relationship Id="rId7" Type="http://schemas.openxmlformats.org/officeDocument/2006/relationships/hyperlink" Target="NULL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Relationship Id="rId6" Type="http://schemas.openxmlformats.org/officeDocument/2006/relationships/hyperlink" Target="NULL" TargetMode="External"/><Relationship Id="rId5" Type="http://schemas.openxmlformats.org/officeDocument/2006/relationships/hyperlink" Target="NULL" TargetMode="External"/><Relationship Id="rId4" Type="http://schemas.openxmlformats.org/officeDocument/2006/relationships/hyperlink" Target="NULL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22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217.xml"/><Relationship Id="rId7" Type="http://schemas.openxmlformats.org/officeDocument/2006/relationships/tags" Target="../tags/tag221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216.xml"/><Relationship Id="rId16" Type="http://schemas.openxmlformats.org/officeDocument/2006/relationships/slide" Target="slide16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11" Type="http://schemas.openxmlformats.org/officeDocument/2006/relationships/tags" Target="../tags/tag225.xml"/><Relationship Id="rId5" Type="http://schemas.openxmlformats.org/officeDocument/2006/relationships/tags" Target="../tags/tag219.xml"/><Relationship Id="rId15" Type="http://schemas.openxmlformats.org/officeDocument/2006/relationships/slide" Target="slide7.xml"/><Relationship Id="rId10" Type="http://schemas.openxmlformats.org/officeDocument/2006/relationships/tags" Target="../tags/tag224.xml"/><Relationship Id="rId4" Type="http://schemas.openxmlformats.org/officeDocument/2006/relationships/tags" Target="../tags/tag218.xml"/><Relationship Id="rId9" Type="http://schemas.openxmlformats.org/officeDocument/2006/relationships/tags" Target="../tags/tag223.xml"/><Relationship Id="rId14" Type="http://schemas.openxmlformats.org/officeDocument/2006/relationships/slide" Target="slide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mailto:git@gitlab.intra.infineon.com:pss/sensys/algo/ifxapp.git" TargetMode="Externa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NULL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NULL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>
            <a:extLst>
              <a:ext uri="{FF2B5EF4-FFF2-40B4-BE49-F238E27FC236}">
                <a16:creationId xmlns:a16="http://schemas.microsoft.com/office/drawing/2014/main" id="{337666BE-79F0-1BE9-8C13-6E81A0D1AD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sz="1800" dirty="0">
                <a:solidFill>
                  <a:srgbClr val="262626"/>
                </a:solidFill>
                <a:effectLst/>
                <a:latin typeface="Segoe UI" panose="020B0502040204020203" pitchFamily="34" charset="0"/>
              </a:rPr>
              <a:t>Kleinmeier Benedikt</a:t>
            </a:r>
          </a:p>
          <a:p>
            <a:r>
              <a:rPr lang="en-US" dirty="0"/>
              <a:t>Nov 19, 2024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466408F-78E5-C213-1350-4414B35BEC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4000" y="3789041"/>
            <a:ext cx="8280000" cy="1492912"/>
          </a:xfrm>
        </p:spPr>
        <p:txBody>
          <a:bodyPr>
            <a:normAutofit fontScale="90000"/>
          </a:bodyPr>
          <a:lstStyle/>
          <a:p>
            <a:r>
              <a:rPr lang="en-US" dirty="0" err="1"/>
              <a:t>Ifxapp</a:t>
            </a:r>
            <a:br>
              <a:rPr lang="en-US" dirty="0"/>
            </a:br>
            <a:r>
              <a:rPr lang="en-US" dirty="0">
                <a:solidFill>
                  <a:schemeClr val="tx1"/>
                </a:solidFill>
              </a:rPr>
              <a:t>A reusable Python-based Qt widget library for radar applications</a:t>
            </a:r>
          </a:p>
        </p:txBody>
      </p:sp>
    </p:spTree>
    <p:extLst>
      <p:ext uri="{BB962C8B-B14F-4D97-AF65-F5344CB8AC3E}">
        <p14:creationId xmlns:p14="http://schemas.microsoft.com/office/powerpoint/2010/main" val="9137017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CF05384-B30F-E951-FCD8-0BCFAB136A9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err="1"/>
              <a:t>Ifxapp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Offers Qt GUI widgets with a common look-and-feel to visualize algorithm events defined in </a:t>
            </a:r>
            <a:r>
              <a:rPr lang="en-US" dirty="0" err="1">
                <a:hlinkClick r:id="rId3" invalidUrl="https:///"/>
              </a:rPr>
              <a:t>ifxalgoapi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.e., </a:t>
            </a:r>
            <a:r>
              <a:rPr lang="en-US" dirty="0" err="1"/>
              <a:t>ifxapp</a:t>
            </a:r>
            <a:r>
              <a:rPr lang="en-US" dirty="0"/>
              <a:t> consumes </a:t>
            </a:r>
            <a:r>
              <a:rPr lang="en-US" dirty="0" err="1"/>
              <a:t>ifxalgoapi</a:t>
            </a:r>
            <a:r>
              <a:rPr lang="en-US" dirty="0"/>
              <a:t> events instead of ADC raw data!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llows to quickly build GUI main windows for customer demos but also during algorithm development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Offers </a:t>
            </a:r>
            <a:r>
              <a:rPr lang="en-US" b="1" dirty="0"/>
              <a:t>access to radar sensors</a:t>
            </a:r>
            <a:r>
              <a:rPr lang="en-US" dirty="0"/>
              <a:t> (via Strata </a:t>
            </a:r>
            <a:r>
              <a:rPr lang="en-US" dirty="0" err="1"/>
              <a:t>firmwares</a:t>
            </a:r>
            <a:r>
              <a:rPr lang="en-US" dirty="0"/>
              <a:t> and evaluation kits like CSK)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F49A31-DF19-B148-F7AB-4DA02F2279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goals</a:t>
            </a:r>
          </a:p>
        </p:txBody>
      </p:sp>
      <p:pic>
        <p:nvPicPr>
          <p:cNvPr id="9" name="Content Placeholder 8" descr="A screenshot of a computer&#10;&#10;Description automatically generated">
            <a:extLst>
              <a:ext uri="{FF2B5EF4-FFF2-40B4-BE49-F238E27FC236}">
                <a16:creationId xmlns:a16="http://schemas.microsoft.com/office/drawing/2014/main" id="{0BF8AEDB-0918-2FD9-8E8A-D66ADAF549AC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744" y="1268413"/>
            <a:ext cx="2830988" cy="5113337"/>
          </a:xfrm>
        </p:spPr>
      </p:pic>
    </p:spTree>
    <p:extLst>
      <p:ext uri="{BB962C8B-B14F-4D97-AF65-F5344CB8AC3E}">
        <p14:creationId xmlns:p14="http://schemas.microsoft.com/office/powerpoint/2010/main" val="32651305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D99F6DB-4FAB-2F79-B740-CB03BCBE8BA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 err="1"/>
              <a:t>Ifxapp</a:t>
            </a:r>
            <a:r>
              <a:rPr lang="en-US" b="1" dirty="0"/>
              <a:t> can read radar data (algorithm events) from the following sources:</a:t>
            </a:r>
          </a:p>
          <a:p>
            <a:r>
              <a:rPr lang="en-US" dirty="0"/>
              <a:t>Files</a:t>
            </a:r>
          </a:p>
          <a:p>
            <a:r>
              <a:rPr lang="en-US" dirty="0"/>
              <a:t>Radar sensors</a:t>
            </a:r>
          </a:p>
          <a:p>
            <a:pPr lvl="1"/>
            <a:r>
              <a:rPr lang="en-US" dirty="0"/>
              <a:t>Sensor on-chip processing chains (e.g. motion detector)</a:t>
            </a:r>
          </a:p>
          <a:p>
            <a:pPr lvl="1"/>
            <a:r>
              <a:rPr lang="en-US" dirty="0"/>
              <a:t>Access radar processing chains on embedded systems (i.e., directly fetch algorithm output from a MCU FW like CSK)</a:t>
            </a:r>
          </a:p>
          <a:p>
            <a:r>
              <a:rPr lang="en-US" dirty="0" err="1"/>
              <a:t>Websockets</a:t>
            </a:r>
            <a:r>
              <a:rPr lang="en-US" dirty="0"/>
              <a:t> (e.g., process radar raw frames in </a:t>
            </a:r>
            <a:r>
              <a:rPr lang="en-US" dirty="0" err="1"/>
              <a:t>Matlab</a:t>
            </a:r>
            <a:r>
              <a:rPr lang="en-US" dirty="0"/>
              <a:t> and send it to </a:t>
            </a:r>
            <a:r>
              <a:rPr lang="en-US" dirty="0" err="1"/>
              <a:t>ifxapp</a:t>
            </a:r>
            <a:r>
              <a:rPr lang="en-US" dirty="0"/>
              <a:t> via </a:t>
            </a:r>
            <a:r>
              <a:rPr lang="en-US" dirty="0" err="1"/>
              <a:t>websockets</a:t>
            </a:r>
            <a:r>
              <a:rPr lang="en-US" dirty="0"/>
              <a:t>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 err="1"/>
              <a:t>Ifxapp</a:t>
            </a:r>
            <a:r>
              <a:rPr lang="en-US" b="1" dirty="0"/>
              <a:t> visualizes:</a:t>
            </a:r>
          </a:p>
          <a:p>
            <a:r>
              <a:rPr lang="en-US" dirty="0" err="1">
                <a:hlinkClick r:id="rId2" invalidUrl="https:///"/>
              </a:rPr>
              <a:t>ifxalgoapi</a:t>
            </a:r>
            <a:r>
              <a:rPr lang="en-US" dirty="0"/>
              <a:t> events (</a:t>
            </a:r>
            <a:r>
              <a:rPr lang="en-US" dirty="0" err="1"/>
              <a:t>AlgoPresenceEvent</a:t>
            </a:r>
            <a:r>
              <a:rPr lang="en-US" dirty="0"/>
              <a:t>, </a:t>
            </a:r>
            <a:r>
              <a:rPr lang="en-US" dirty="0" err="1"/>
              <a:t>AlgoTrackingEvent</a:t>
            </a:r>
            <a:r>
              <a:rPr lang="en-US" dirty="0"/>
              <a:t>, …)</a:t>
            </a:r>
          </a:p>
          <a:p>
            <a:r>
              <a:rPr lang="en-US" dirty="0"/>
              <a:t>Video recordings from </a:t>
            </a:r>
            <a:r>
              <a:rPr lang="en-US" dirty="0" err="1">
                <a:hlinkClick r:id="rId3" invalidUrl="https:///"/>
              </a:rPr>
              <a:t>ifxdaq</a:t>
            </a:r>
            <a:endParaRPr lang="en-US" dirty="0"/>
          </a:p>
          <a:p>
            <a:r>
              <a:rPr lang="en-US" dirty="0"/>
              <a:t>Planned: Custom plots to enable developers to debug their algorith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CDAE0B-14DD-E51F-A24B-72962AB04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fxapp</a:t>
            </a:r>
            <a:r>
              <a:rPr lang="en-US" dirty="0"/>
              <a:t>: Feature overview and event sources</a:t>
            </a:r>
          </a:p>
        </p:txBody>
      </p:sp>
    </p:spTree>
    <p:extLst>
      <p:ext uri="{BB962C8B-B14F-4D97-AF65-F5344CB8AC3E}">
        <p14:creationId xmlns:p14="http://schemas.microsoft.com/office/powerpoint/2010/main" val="27501089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ntent Placeholder 10" descr="A diagram of software components&#10;&#10;Description automatically generated">
            <a:extLst>
              <a:ext uri="{FF2B5EF4-FFF2-40B4-BE49-F238E27FC236}">
                <a16:creationId xmlns:a16="http://schemas.microsoft.com/office/drawing/2014/main" id="{AEA4AABC-E635-0759-CD98-6FD70B913053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31" y="2060849"/>
            <a:ext cx="4309676" cy="3528466"/>
          </a:xfrm>
        </p:spPr>
      </p:pic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2D9CFA4F-BC77-440B-0CAE-7113E23F03A9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4"/>
          <a:stretch>
            <a:fillRect/>
          </a:stretch>
        </p:blipFill>
        <p:spPr>
          <a:xfrm>
            <a:off x="6576987" y="2060849"/>
            <a:ext cx="1755158" cy="2736302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6730605-B23B-D191-A496-7DCBD2EEBA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ware architectu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A56D7CB-DDC8-BC7C-019B-5865610306EC}"/>
              </a:ext>
            </a:extLst>
          </p:cNvPr>
          <p:cNvSpPr txBox="1"/>
          <p:nvPr/>
        </p:nvSpPr>
        <p:spPr bwMode="auto">
          <a:xfrm>
            <a:off x="9480376" y="2058585"/>
            <a:ext cx="1449115" cy="301878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</a:rPr>
              <a:t>Main window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30984A-DA3C-459F-FE13-4FA054A32035}"/>
              </a:ext>
            </a:extLst>
          </p:cNvPr>
          <p:cNvSpPr txBox="1"/>
          <p:nvPr/>
        </p:nvSpPr>
        <p:spPr bwMode="auto">
          <a:xfrm>
            <a:off x="9480376" y="3119493"/>
            <a:ext cx="833562" cy="301878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>
                <a:latin typeface="+mn-lt"/>
              </a:rPr>
              <a:t>Widgets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5DD9DAD-9751-4808-C92D-669DF03FDBC9}"/>
              </a:ext>
            </a:extLst>
          </p:cNvPr>
          <p:cNvSpPr txBox="1"/>
          <p:nvPr/>
        </p:nvSpPr>
        <p:spPr bwMode="auto">
          <a:xfrm>
            <a:off x="9480376" y="4180400"/>
            <a:ext cx="1944216" cy="63427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>
                <a:latin typeface="+mn-lt"/>
              </a:rPr>
              <a:t>Non-GUI code to access hardware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7D88D8BB-B558-A9D5-92DD-EABB2A02385F}"/>
              </a:ext>
            </a:extLst>
          </p:cNvPr>
          <p:cNvCxnSpPr>
            <a:cxnSpLocks/>
          </p:cNvCxnSpPr>
          <p:nvPr/>
        </p:nvCxnSpPr>
        <p:spPr>
          <a:xfrm flipV="1">
            <a:off x="7752184" y="2284994"/>
            <a:ext cx="1584176" cy="834499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3D2930C7-F989-1613-DA92-5093DC06898F}"/>
              </a:ext>
            </a:extLst>
          </p:cNvPr>
          <p:cNvCxnSpPr>
            <a:cxnSpLocks/>
          </p:cNvCxnSpPr>
          <p:nvPr/>
        </p:nvCxnSpPr>
        <p:spPr>
          <a:xfrm flipV="1">
            <a:off x="7680176" y="3270432"/>
            <a:ext cx="1656184" cy="158568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88E5ACB-E5DE-C2C8-8EF9-E428B6B0E628}"/>
              </a:ext>
            </a:extLst>
          </p:cNvPr>
          <p:cNvCxnSpPr/>
          <p:nvPr/>
        </p:nvCxnSpPr>
        <p:spPr>
          <a:xfrm>
            <a:off x="8184232" y="3738508"/>
            <a:ext cx="1152128" cy="533114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93606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42B3EAB-ED6B-FCE2-6728-30ED8368F2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sz="1400" dirty="0"/>
              <a:t>Repo on </a:t>
            </a:r>
            <a:r>
              <a:rPr lang="en-US" sz="1400" dirty="0">
                <a:hlinkClick r:id="rId3" invalidUrl="https:///"/>
              </a:rPr>
              <a:t>GitLab</a:t>
            </a:r>
            <a:endParaRPr lang="en-US" sz="1400" dirty="0"/>
          </a:p>
          <a:p>
            <a:r>
              <a:rPr lang="en-US" sz="1400" dirty="0"/>
              <a:t>Ticket-driven approach with feature branches and merge requests</a:t>
            </a:r>
          </a:p>
          <a:p>
            <a:r>
              <a:rPr lang="en-US" sz="1400" dirty="0"/>
              <a:t>Release notifications on </a:t>
            </a:r>
            <a:r>
              <a:rPr lang="en-US" sz="1400" dirty="0">
                <a:hlinkClick r:id="rId4" invalidUrl="https:///"/>
              </a:rPr>
              <a:t>Webex</a:t>
            </a:r>
            <a:endParaRPr lang="en-US" sz="1400" dirty="0"/>
          </a:p>
          <a:p>
            <a:pPr lvl="1"/>
            <a:r>
              <a:rPr lang="en-US" sz="1200" dirty="0"/>
              <a:t>A Git tag triggers (1) Python .</a:t>
            </a:r>
            <a:r>
              <a:rPr lang="en-US" sz="1200" dirty="0" err="1"/>
              <a:t>whl</a:t>
            </a:r>
            <a:r>
              <a:rPr lang="en-US" sz="1200" dirty="0"/>
              <a:t> creation (2) HTML doc and (3) executable generation (with </a:t>
            </a:r>
            <a:r>
              <a:rPr lang="en-US" sz="1200" dirty="0" err="1"/>
              <a:t>cx_Freeze</a:t>
            </a:r>
            <a:r>
              <a:rPr lang="en-US" sz="1200" dirty="0"/>
              <a:t>)</a:t>
            </a:r>
          </a:p>
          <a:p>
            <a:pPr lvl="1"/>
            <a:r>
              <a:rPr lang="en-US" sz="1200" dirty="0">
                <a:hlinkClick r:id="rId5"/>
              </a:rPr>
              <a:t>https://gitlab.acme.com/pss/ifxapp/-/releases</a:t>
            </a:r>
            <a:endParaRPr lang="en-US" sz="1200" dirty="0"/>
          </a:p>
          <a:p>
            <a:r>
              <a:rPr lang="en-US" sz="1400" dirty="0"/>
              <a:t>HTML documentation (currently not uploaded to Artifactory)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r>
              <a:rPr lang="en-US" sz="1400" dirty="0"/>
              <a:t>Dev tools:</a:t>
            </a:r>
          </a:p>
          <a:p>
            <a:r>
              <a:rPr lang="en-US" sz="1400" dirty="0"/>
              <a:t>Python 3.9</a:t>
            </a:r>
          </a:p>
          <a:p>
            <a:pPr lvl="1"/>
            <a:r>
              <a:rPr lang="en-US" sz="1400" dirty="0"/>
              <a:t>pre-commit 3.7.1</a:t>
            </a:r>
          </a:p>
          <a:p>
            <a:pPr lvl="1"/>
            <a:r>
              <a:rPr lang="en-US" sz="1400" dirty="0" err="1"/>
              <a:t>cx_Freeze</a:t>
            </a:r>
            <a:r>
              <a:rPr lang="en-US" sz="1400" dirty="0"/>
              <a:t> 7.2.2</a:t>
            </a:r>
          </a:p>
          <a:p>
            <a:pPr lvl="1"/>
            <a:r>
              <a:rPr lang="en-US" sz="1400" dirty="0" err="1"/>
              <a:t>pytest</a:t>
            </a:r>
            <a:r>
              <a:rPr lang="en-US" sz="1400" dirty="0"/>
              <a:t> 8.2.1</a:t>
            </a:r>
          </a:p>
          <a:p>
            <a:pPr lvl="1"/>
            <a:r>
              <a:rPr lang="en-US" sz="1400" dirty="0"/>
              <a:t>ruff 0.7.1</a:t>
            </a:r>
          </a:p>
          <a:p>
            <a:pPr lvl="1"/>
            <a:r>
              <a:rPr lang="en-US" sz="1400" dirty="0"/>
              <a:t>Sphinx 5.2.1</a:t>
            </a:r>
          </a:p>
          <a:p>
            <a:r>
              <a:rPr lang="en-US" sz="1400" dirty="0"/>
              <a:t>VS Code 1.87</a:t>
            </a:r>
          </a:p>
          <a:p>
            <a:r>
              <a:rPr lang="en-US" sz="1400" dirty="0"/>
              <a:t>Code coverage: ~30%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0CACA16-A0DE-A159-B661-61628B04A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setup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0A508835-D061-8BA3-BD34-EBC924715BFF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6"/>
          <a:stretch>
            <a:fillRect/>
          </a:stretch>
        </p:blipFill>
        <p:spPr>
          <a:xfrm>
            <a:off x="6636595" y="1268413"/>
            <a:ext cx="4751286" cy="5113337"/>
          </a:xfrm>
        </p:spPr>
      </p:pic>
    </p:spTree>
    <p:extLst>
      <p:ext uri="{BB962C8B-B14F-4D97-AF65-F5344CB8AC3E}">
        <p14:creationId xmlns:p14="http://schemas.microsoft.com/office/powerpoint/2010/main" val="3274611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42B3EAB-ED6B-FCE2-6728-30ED8368F2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sz="1400" dirty="0"/>
              <a:t>Repo on </a:t>
            </a:r>
            <a:r>
              <a:rPr lang="en-US" sz="1400" dirty="0">
                <a:hlinkClick r:id="rId3" invalidUrl="https:///"/>
              </a:rPr>
              <a:t>GitLab</a:t>
            </a:r>
            <a:endParaRPr lang="en-US" sz="1400" dirty="0"/>
          </a:p>
          <a:p>
            <a:r>
              <a:rPr lang="en-US" sz="1400" dirty="0"/>
              <a:t>Ticket-driven approach with feature branches and merge requests</a:t>
            </a:r>
          </a:p>
          <a:p>
            <a:r>
              <a:rPr lang="en-US" sz="1400" dirty="0"/>
              <a:t>Release notifications on </a:t>
            </a:r>
            <a:r>
              <a:rPr lang="en-US" sz="1400" dirty="0">
                <a:hlinkClick r:id="rId4" invalidUrl="https:///"/>
              </a:rPr>
              <a:t>Webex</a:t>
            </a:r>
            <a:endParaRPr lang="en-US" sz="1400" dirty="0"/>
          </a:p>
          <a:p>
            <a:pPr lvl="1"/>
            <a:r>
              <a:rPr lang="en-US" sz="1200" dirty="0"/>
              <a:t>A Git tag triggers (1) Python .</a:t>
            </a:r>
            <a:r>
              <a:rPr lang="en-US" sz="1200" dirty="0" err="1"/>
              <a:t>whl</a:t>
            </a:r>
            <a:r>
              <a:rPr lang="en-US" sz="1200" dirty="0"/>
              <a:t> creation (2) HTML doc and (3) executable generation (with </a:t>
            </a:r>
            <a:r>
              <a:rPr lang="en-US" sz="1200" dirty="0" err="1"/>
              <a:t>cx_Freeze</a:t>
            </a:r>
            <a:r>
              <a:rPr lang="en-US" sz="1200" dirty="0"/>
              <a:t>)</a:t>
            </a:r>
          </a:p>
          <a:p>
            <a:pPr lvl="1"/>
            <a:r>
              <a:rPr lang="en-US" sz="1200" dirty="0">
                <a:hlinkClick r:id="rId5"/>
              </a:rPr>
              <a:t>https://gitlab.acme.com/pss/ifxapp/-/releases</a:t>
            </a:r>
            <a:endParaRPr lang="en-US" sz="1200" dirty="0"/>
          </a:p>
          <a:p>
            <a:r>
              <a:rPr lang="en-US" sz="1400" dirty="0"/>
              <a:t>HTML documentation (currently not uploaded to Artifactory)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r>
              <a:rPr lang="en-US" sz="1400" dirty="0"/>
              <a:t>Dev tools:</a:t>
            </a:r>
          </a:p>
          <a:p>
            <a:r>
              <a:rPr lang="en-US" sz="1400" dirty="0"/>
              <a:t>Python 3.9</a:t>
            </a:r>
          </a:p>
          <a:p>
            <a:pPr lvl="1"/>
            <a:r>
              <a:rPr lang="en-US" sz="1400" dirty="0"/>
              <a:t>pre-commit 3.7.1</a:t>
            </a:r>
          </a:p>
          <a:p>
            <a:pPr lvl="1"/>
            <a:r>
              <a:rPr lang="en-US" sz="1400" dirty="0" err="1"/>
              <a:t>cx_Freeze</a:t>
            </a:r>
            <a:r>
              <a:rPr lang="en-US" sz="1400" dirty="0"/>
              <a:t> 7.2.2</a:t>
            </a:r>
          </a:p>
          <a:p>
            <a:pPr lvl="1"/>
            <a:r>
              <a:rPr lang="en-US" sz="1400" dirty="0" err="1"/>
              <a:t>pytest</a:t>
            </a:r>
            <a:r>
              <a:rPr lang="en-US" sz="1400" dirty="0"/>
              <a:t> 8.2.1</a:t>
            </a:r>
          </a:p>
          <a:p>
            <a:pPr lvl="1"/>
            <a:r>
              <a:rPr lang="en-US" sz="1400" dirty="0"/>
              <a:t>ruff 0.7.1</a:t>
            </a:r>
          </a:p>
          <a:p>
            <a:pPr lvl="1"/>
            <a:r>
              <a:rPr lang="en-US" sz="1400" dirty="0"/>
              <a:t>Sphinx 5.2.1</a:t>
            </a:r>
          </a:p>
          <a:p>
            <a:r>
              <a:rPr lang="en-US" sz="1400" dirty="0"/>
              <a:t>VS Code 1.87</a:t>
            </a:r>
          </a:p>
          <a:p>
            <a:r>
              <a:rPr lang="en-US" sz="1400" dirty="0"/>
              <a:t>Code coverage: ~30%</a:t>
            </a:r>
          </a:p>
          <a:p>
            <a:endParaRPr lang="en-US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CDB57578-6D21-8F04-F481-EC06D4B2880D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93782" y="2392328"/>
            <a:ext cx="1209248" cy="1209248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0CACA16-A0DE-A159-B661-61628B04A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setup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1278292-D9DE-DE98-C10A-957D6D6A4D5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192344" y="4439621"/>
            <a:ext cx="1230189" cy="1230189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FCEB7129-2F0E-2172-E9A7-87599A1C980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08844" y="1777071"/>
            <a:ext cx="1111447" cy="1219881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87AB7539-3B30-C03B-C50D-90AC67697F1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776520" y="3429000"/>
            <a:ext cx="763911" cy="933478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2FEFB466-3023-255C-C68D-69E3B375EBC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201910" y="3998908"/>
            <a:ext cx="1259182" cy="881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3611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BFD949B-913A-5264-7634-EE35C4D8FB8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b="1" dirty="0"/>
              <a:t>Current focus:</a:t>
            </a:r>
          </a:p>
          <a:p>
            <a:pPr lvl="1"/>
            <a:r>
              <a:rPr lang="en-US" dirty="0"/>
              <a:t>Get stable release out the door with minimal feature set to unblock projects.</a:t>
            </a:r>
          </a:p>
          <a:p>
            <a:r>
              <a:rPr lang="en-US" b="1" dirty="0"/>
              <a:t>Next:</a:t>
            </a:r>
          </a:p>
          <a:p>
            <a:pPr lvl="1"/>
            <a:r>
              <a:rPr lang="en-US" dirty="0"/>
              <a:t>Code refactoring (use design patterns, mitigate technical depts etc.)</a:t>
            </a:r>
          </a:p>
          <a:p>
            <a:pPr lvl="1"/>
            <a:r>
              <a:rPr lang="en-US" dirty="0"/>
              <a:t>Increase code coverage (even for a GUI project it is too low)</a:t>
            </a:r>
          </a:p>
          <a:p>
            <a:pPr lvl="1"/>
            <a:r>
              <a:rPr lang="en-US" dirty="0"/>
              <a:t>Implement new featur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6EDB043-B094-F79C-9D6F-BD4B228AFD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ook</a:t>
            </a:r>
          </a:p>
        </p:txBody>
      </p:sp>
    </p:spTree>
    <p:extLst>
      <p:ext uri="{BB962C8B-B14F-4D97-AF65-F5344CB8AC3E}">
        <p14:creationId xmlns:p14="http://schemas.microsoft.com/office/powerpoint/2010/main" val="1625014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35360" y="2134800"/>
            <a:ext cx="8137525" cy="683369"/>
          </a:xfrm>
        </p:spPr>
        <p:txBody>
          <a:bodyPr/>
          <a:lstStyle/>
          <a:p>
            <a:r>
              <a:rPr lang="de-DE" dirty="0"/>
              <a:t>Ifxapp: Demo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083973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EBD9048-C813-D68A-CF09-479D3FF8A9F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emos can be found under </a:t>
            </a:r>
            <a:r>
              <a:rPr lang="en-US" dirty="0" err="1">
                <a:hlinkClick r:id="rId3" invalidUrl="https:///"/>
              </a:rPr>
              <a:t>src</a:t>
            </a:r>
            <a:r>
              <a:rPr lang="en-US" dirty="0">
                <a:hlinkClick r:id="rId4" invalidUrl="https:///"/>
              </a:rPr>
              <a:t>/</a:t>
            </a:r>
            <a:r>
              <a:rPr lang="en-US" dirty="0" err="1">
                <a:hlinkClick r:id="rId5" invalidUrl="https:///"/>
              </a:rPr>
              <a:t>ifxapp</a:t>
            </a:r>
            <a:r>
              <a:rPr lang="en-US" dirty="0">
                <a:hlinkClick r:id="rId6" invalidUrl="https:///"/>
              </a:rPr>
              <a:t>/examples/</a:t>
            </a:r>
            <a:r>
              <a:rPr lang="en-US" dirty="0"/>
              <a:t> folder:</a:t>
            </a:r>
          </a:p>
          <a:p>
            <a:r>
              <a:rPr lang="en-US" dirty="0">
                <a:hlinkClick r:id="rId7" invalidUrl="https:///"/>
              </a:rPr>
              <a:t>event_file_and_websocket_reader_example.py</a:t>
            </a:r>
            <a:endParaRPr lang="en-US" dirty="0"/>
          </a:p>
          <a:p>
            <a:r>
              <a:rPr lang="en-US" dirty="0"/>
              <a:t>presence_example.py</a:t>
            </a:r>
          </a:p>
          <a:p>
            <a:r>
              <a:rPr lang="en-US" dirty="0"/>
              <a:t>smartar_motion_detector_example.py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14CA9AB0-78D9-9FAF-75C3-03E3CD17DA43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67438" y="1857207"/>
            <a:ext cx="5689600" cy="3935748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BC20507-CE69-AD49-070C-45873E56EF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s</a:t>
            </a:r>
          </a:p>
        </p:txBody>
      </p:sp>
    </p:spTree>
    <p:extLst>
      <p:ext uri="{BB962C8B-B14F-4D97-AF65-F5344CB8AC3E}">
        <p14:creationId xmlns:p14="http://schemas.microsoft.com/office/powerpoint/2010/main" val="33065301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EBD9048-C813-D68A-CF09-479D3FF8A9F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emos can be found under </a:t>
            </a:r>
            <a:r>
              <a:rPr lang="en-US" dirty="0" err="1">
                <a:hlinkClick r:id="rId3" invalidUrl="https:///"/>
              </a:rPr>
              <a:t>src</a:t>
            </a:r>
            <a:r>
              <a:rPr lang="en-US" dirty="0">
                <a:hlinkClick r:id="rId4" invalidUrl="https:///"/>
              </a:rPr>
              <a:t>/</a:t>
            </a:r>
            <a:r>
              <a:rPr lang="en-US" dirty="0" err="1">
                <a:hlinkClick r:id="rId5" invalidUrl="https:///"/>
              </a:rPr>
              <a:t>ifxapp</a:t>
            </a:r>
            <a:r>
              <a:rPr lang="en-US" dirty="0">
                <a:hlinkClick r:id="rId6" invalidUrl="https:///"/>
              </a:rPr>
              <a:t>/examples/</a:t>
            </a:r>
            <a:r>
              <a:rPr lang="en-US" dirty="0"/>
              <a:t> folder:</a:t>
            </a:r>
          </a:p>
          <a:p>
            <a:r>
              <a:rPr lang="en-US" dirty="0"/>
              <a:t>event_file_and_websocket_reader_example.py</a:t>
            </a:r>
          </a:p>
          <a:p>
            <a:r>
              <a:rPr lang="en-US" dirty="0">
                <a:hlinkClick r:id="rId7" invalidUrl="https:///"/>
              </a:rPr>
              <a:t>presence_example.py</a:t>
            </a:r>
            <a:endParaRPr lang="en-US" dirty="0"/>
          </a:p>
          <a:p>
            <a:r>
              <a:rPr lang="en-US" dirty="0"/>
              <a:t>smartar_motion_detector_example.py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14CA9AB0-78D9-9FAF-75C3-03E3CD17DA43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67438" y="1857207"/>
            <a:ext cx="5689600" cy="3935748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BC20507-CE69-AD49-070C-45873E56EF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s</a:t>
            </a:r>
          </a:p>
        </p:txBody>
      </p:sp>
    </p:spTree>
    <p:extLst>
      <p:ext uri="{BB962C8B-B14F-4D97-AF65-F5344CB8AC3E}">
        <p14:creationId xmlns:p14="http://schemas.microsoft.com/office/powerpoint/2010/main" val="12472535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EBD9048-C813-D68A-CF09-479D3FF8A9F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emos can be found under </a:t>
            </a:r>
            <a:r>
              <a:rPr lang="en-US" dirty="0" err="1">
                <a:hlinkClick r:id="rId3" invalidUrl="https:///"/>
              </a:rPr>
              <a:t>src</a:t>
            </a:r>
            <a:r>
              <a:rPr lang="en-US" dirty="0">
                <a:hlinkClick r:id="rId4" invalidUrl="https:///"/>
              </a:rPr>
              <a:t>/</a:t>
            </a:r>
            <a:r>
              <a:rPr lang="en-US" dirty="0" err="1">
                <a:hlinkClick r:id="rId5" invalidUrl="https:///"/>
              </a:rPr>
              <a:t>ifxapp</a:t>
            </a:r>
            <a:r>
              <a:rPr lang="en-US" dirty="0">
                <a:hlinkClick r:id="rId6" invalidUrl="https:///"/>
              </a:rPr>
              <a:t>/examples/</a:t>
            </a:r>
            <a:r>
              <a:rPr lang="en-US" dirty="0"/>
              <a:t> folder:</a:t>
            </a:r>
          </a:p>
          <a:p>
            <a:r>
              <a:rPr lang="en-US" dirty="0"/>
              <a:t>event_file_and_websocket_reader_example.py</a:t>
            </a:r>
          </a:p>
          <a:p>
            <a:r>
              <a:rPr lang="en-US" dirty="0"/>
              <a:t>presence_example.py</a:t>
            </a:r>
          </a:p>
          <a:p>
            <a:r>
              <a:rPr lang="en-US" dirty="0">
                <a:hlinkClick r:id="rId7" invalidUrl="https:///"/>
              </a:rPr>
              <a:t>smartar_motion_detector_example.py</a:t>
            </a:r>
            <a:endParaRPr lang="en-US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14CA9AB0-78D9-9FAF-75C3-03E3CD17DA43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67438" y="1857207"/>
            <a:ext cx="5689600" cy="3371993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BC20507-CE69-AD49-070C-45873E56EF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s</a:t>
            </a:r>
          </a:p>
        </p:txBody>
      </p:sp>
    </p:spTree>
    <p:extLst>
      <p:ext uri="{BB962C8B-B14F-4D97-AF65-F5344CB8AC3E}">
        <p14:creationId xmlns:p14="http://schemas.microsoft.com/office/powerpoint/2010/main" val="18019792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FAF6B8A5-3E24-70E4-87BC-BE9F569D3E18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334434" y="1268413"/>
            <a:ext cx="11521017" cy="1655999"/>
            <a:chOff x="334434" y="1268413"/>
            <a:chExt cx="11521017" cy="1655999"/>
          </a:xfrm>
        </p:grpSpPr>
        <p:sp>
          <p:nvSpPr>
            <p:cNvPr id="5" name="MIO_AGENDA_ELEMENT_TITEL_1">
              <a:hlinkClick r:id="rId14" action="ppaction://hlinksldjump"/>
              <a:extLst>
                <a:ext uri="{FF2B5EF4-FFF2-40B4-BE49-F238E27FC236}">
                  <a16:creationId xmlns:a16="http://schemas.microsoft.com/office/drawing/2014/main" id="{DE974DD5-13CB-4366-21D8-7F63E680F800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235076" y="1268413"/>
              <a:ext cx="9792000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Motivation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6" name="MIO_AGENDA_ELEMENT_ELEMENTNUMBER_1">
              <a:hlinkClick r:id="rId14" action="ppaction://hlinksldjump"/>
              <a:extLst>
                <a:ext uri="{FF2B5EF4-FFF2-40B4-BE49-F238E27FC236}">
                  <a16:creationId xmlns:a16="http://schemas.microsoft.com/office/drawing/2014/main" id="{62E99B9E-3973-7EB8-65BD-8E55E133AEA9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334434" y="1268413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1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MIO_AGENDA_ELEMENT_PAGENUMBER_1">
              <a:hlinkClick r:id="rId14" action="ppaction://hlinksldjump"/>
              <a:extLst>
                <a:ext uri="{FF2B5EF4-FFF2-40B4-BE49-F238E27FC236}">
                  <a16:creationId xmlns:a16="http://schemas.microsoft.com/office/drawing/2014/main" id="{E6967D18-4EFF-A3E5-7CC3-288DE0F3F856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1026666" y="1268413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3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8" name="MIO_AGENDA_ELEMENT_TITEL_2">
              <a:hlinkClick r:id="rId15" action="ppaction://hlinksldjump"/>
              <a:extLst>
                <a:ext uri="{FF2B5EF4-FFF2-40B4-BE49-F238E27FC236}">
                  <a16:creationId xmlns:a16="http://schemas.microsoft.com/office/drawing/2014/main" id="{F904FF9C-078D-AEE4-291F-C8673FE43193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235076" y="1844412"/>
              <a:ext cx="9792000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>
                  <a:latin typeface="+mn-lt"/>
                </a:rPr>
                <a:t>Ifxapp: Overview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9" name="MIO_AGENDA_ELEMENT_ELEMENTNUMBER_2">
              <a:hlinkClick r:id="rId15" action="ppaction://hlinksldjump"/>
              <a:extLst>
                <a:ext uri="{FF2B5EF4-FFF2-40B4-BE49-F238E27FC236}">
                  <a16:creationId xmlns:a16="http://schemas.microsoft.com/office/drawing/2014/main" id="{500D687F-0DCF-946D-C83B-864F97C75CA0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334434" y="1844412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2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MIO_AGENDA_ELEMENT_PAGENUMBER_2">
              <a:hlinkClick r:id="rId15" action="ppaction://hlinksldjump"/>
              <a:extLst>
                <a:ext uri="{FF2B5EF4-FFF2-40B4-BE49-F238E27FC236}">
                  <a16:creationId xmlns:a16="http://schemas.microsoft.com/office/drawing/2014/main" id="{1BBF913D-DCB8-EC34-ADD6-288FF65747BE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1026666" y="1844412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7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1" name="MIO_AGENDA_ELEMENT_TITEL_3">
              <a:hlinkClick r:id="rId16" action="ppaction://hlinksldjump"/>
              <a:extLst>
                <a:ext uri="{FF2B5EF4-FFF2-40B4-BE49-F238E27FC236}">
                  <a16:creationId xmlns:a16="http://schemas.microsoft.com/office/drawing/2014/main" id="{2B80140F-A7AA-109F-0224-E82A8720125B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235076" y="2420412"/>
              <a:ext cx="9792000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 dirty="0">
                  <a:latin typeface="+mn-lt"/>
                </a:rPr>
                <a:t>Ifxapp: Demos</a:t>
              </a:r>
            </a:p>
          </p:txBody>
        </p:sp>
        <p:sp>
          <p:nvSpPr>
            <p:cNvPr id="12" name="MIO_AGENDA_ELEMENT_ELEMENTNUMBER_3">
              <a:hlinkClick r:id="rId16" action="ppaction://hlinksldjump"/>
              <a:extLst>
                <a:ext uri="{FF2B5EF4-FFF2-40B4-BE49-F238E27FC236}">
                  <a16:creationId xmlns:a16="http://schemas.microsoft.com/office/drawing/2014/main" id="{0EFF47C0-1796-2C18-C55C-42E807CA2DFB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334434" y="2420412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3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MIO_AGENDA_ELEMENT_PAGENUMBER_3">
              <a:hlinkClick r:id="rId16" action="ppaction://hlinksldjump"/>
              <a:extLst>
                <a:ext uri="{FF2B5EF4-FFF2-40B4-BE49-F238E27FC236}">
                  <a16:creationId xmlns:a16="http://schemas.microsoft.com/office/drawing/2014/main" id="{ACCC891C-5A5E-EF2F-B564-93B7D768D025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11026666" y="2420412"/>
              <a:ext cx="828785" cy="504000"/>
            </a:xfrm>
            <a:prstGeom prst="rect">
              <a:avLst/>
            </a:prstGeom>
            <a:noFill/>
          </p:spPr>
          <p:txBody>
            <a:bodyPr vert="horz" wrap="none" lIns="0" tIns="36000" rIns="21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lvl="1" algn="r"/>
              <a:r>
                <a:rPr lang="de-DE" sz="1800">
                  <a:latin typeface="+mn-lt"/>
                </a:rPr>
                <a:t>16</a:t>
              </a:r>
              <a:endParaRPr lang="de-DE" sz="1800" dirty="0">
                <a:latin typeface="+mn-lt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D25827E-9ED0-9DAB-CAA6-420C2729451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r>
              <a:rPr lang="en-US"/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2763404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6D18C91-C0D4-69E4-4397-A37B44B23EA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ry out </a:t>
            </a:r>
            <a:r>
              <a:rPr lang="en-US" dirty="0" err="1"/>
              <a:t>ifxapp</a:t>
            </a:r>
            <a:r>
              <a:rPr lang="en-US" dirty="0"/>
              <a:t> applications and GUI widgets:</a:t>
            </a:r>
          </a:p>
          <a:p>
            <a:pPr marL="0" indent="0">
              <a:buNone/>
            </a:pPr>
            <a:endParaRPr lang="en-US" dirty="0"/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Clone and initialize the repo and install </a:t>
            </a:r>
            <a:r>
              <a:rPr lang="en-US" dirty="0" err="1"/>
              <a:t>ifxapp</a:t>
            </a:r>
            <a:r>
              <a:rPr lang="en-US" dirty="0"/>
              <a:t> Python dependencies from `requirements.txt`</a:t>
            </a:r>
            <a:br>
              <a:rPr lang="en-US" dirty="0"/>
            </a:b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git clone 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  <a:hlinkClick r:id="rId2"/>
              </a:rPr>
              <a:t>git@gitlab.acme.com:pss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  <a:hlinkClick r:id="rId2"/>
              </a:rPr>
              <a:t>/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  <a:hlinkClick r:id="rId2"/>
              </a:rPr>
              <a:t>ifxapp.git</a:t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cd 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fxapp</a:t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./scripts/configure_repo.sh</a:t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code 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scode.code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-workspace &amp;</a:t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/>
              <a:t>Note: On Windows, use "Git Bash for Windows" to execute these commands.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Start a demo application:</a:t>
            </a:r>
            <a:br>
              <a:rPr lang="en-US" dirty="0"/>
            </a:b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source .venv-3.9/Scripts/activate</a:t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python src/ifxapp/examples/event_file_and_websocket_reader_example.py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Start individual </a:t>
            </a:r>
            <a:r>
              <a:rPr lang="en-US" dirty="0" err="1"/>
              <a:t>ifxapp</a:t>
            </a:r>
            <a:r>
              <a:rPr lang="en-US" dirty="0"/>
              <a:t> widgets, for instance:</a:t>
            </a:r>
            <a:br>
              <a:rPr lang="en-US" dirty="0"/>
            </a:b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source .venv-3.9/Scripts/activate</a:t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python src/ifxapp/gui/event_consumers/segment_plot.p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FCAADEF-80D3-562B-A62E-B9C551F610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started</a:t>
            </a:r>
          </a:p>
        </p:txBody>
      </p:sp>
    </p:spTree>
    <p:extLst>
      <p:ext uri="{BB962C8B-B14F-4D97-AF65-F5344CB8AC3E}">
        <p14:creationId xmlns:p14="http://schemas.microsoft.com/office/powerpoint/2010/main" val="4485797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35360" y="2134800"/>
            <a:ext cx="8137525" cy="683369"/>
          </a:xfrm>
        </p:spPr>
        <p:txBody>
          <a:bodyPr/>
          <a:lstStyle/>
          <a:p>
            <a:r>
              <a:rPr lang="de-DE"/>
              <a:t>Motivation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32097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0B87B8B-5BAD-10CD-A56D-284BA4384F7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Current status: PSS RFS develops </a:t>
            </a:r>
            <a:r>
              <a:rPr lang="en-US" b="1" dirty="0"/>
              <a:t>different applications</a:t>
            </a:r>
            <a:r>
              <a:rPr lang="en-US" dirty="0"/>
              <a:t> (</a:t>
            </a:r>
            <a:r>
              <a:rPr lang="en-US" dirty="0" err="1"/>
              <a:t>SmartTV</a:t>
            </a:r>
            <a:r>
              <a:rPr lang="en-US" dirty="0"/>
              <a:t>, Air Condition, Security Camera &amp; Doorbell), in </a:t>
            </a:r>
            <a:r>
              <a:rPr lang="en-US" b="1" dirty="0"/>
              <a:t>different teams</a:t>
            </a:r>
            <a:r>
              <a:rPr lang="en-US" dirty="0"/>
              <a:t> spread </a:t>
            </a:r>
            <a:r>
              <a:rPr lang="en-US" b="1" dirty="0"/>
              <a:t>around the globe</a:t>
            </a:r>
            <a:r>
              <a:rPr lang="en-US" dirty="0"/>
              <a:t>!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sz="3200" b="1" dirty="0"/>
              <a:t>How to lift synergies between these development efforts?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4D1036-4D5E-CFD9-80C9-2A6B107C3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: </a:t>
            </a:r>
            <a:r>
              <a:rPr lang="en-US" dirty="0" err="1"/>
              <a:t>Ifxapp</a:t>
            </a:r>
            <a:r>
              <a:rPr lang="en-US" dirty="0"/>
              <a:t> </a:t>
            </a:r>
          </a:p>
        </p:txBody>
      </p:sp>
      <p:pic>
        <p:nvPicPr>
          <p:cNvPr id="14" name="Picture 13" descr="Firemen in a huddle">
            <a:extLst>
              <a:ext uri="{FF2B5EF4-FFF2-40B4-BE49-F238E27FC236}">
                <a16:creationId xmlns:a16="http://schemas.microsoft.com/office/drawing/2014/main" id="{36838130-C3A2-EEB4-027C-67C5C72D5E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8937" y="3717032"/>
            <a:ext cx="3637316" cy="2426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5262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0B87B8B-5BAD-10CD-A56D-284BA4384F7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By providing a </a:t>
            </a:r>
            <a:r>
              <a:rPr kumimoji="0" lang="en-US" sz="2400" b="1" i="0" u="sng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reusable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 GUI library for radar data visualization!</a:t>
            </a:r>
            <a:endParaRPr lang="en-US" sz="24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8E61068-1360-632D-7C96-55D1A034E3A5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marR="0" lvl="0" indent="0" algn="l" defTabSz="57600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A8276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2400" dirty="0"/>
              <a:t>Benefits:</a:t>
            </a:r>
          </a:p>
          <a:p>
            <a:pPr>
              <a:buClr>
                <a:srgbClr val="0A8276"/>
              </a:buClr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Common look &amp; feel</a:t>
            </a:r>
          </a:p>
          <a:p>
            <a:pPr>
              <a:buClr>
                <a:srgbClr val="0A8276"/>
              </a:buClr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Can be used across different projects</a:t>
            </a:r>
          </a:p>
          <a:p>
            <a:pPr>
              <a:buClr>
                <a:srgbClr val="0A8276"/>
              </a:buClr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Builds up abstractions</a:t>
            </a:r>
            <a:b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I.e., embedded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devs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 can focus on data communication, algo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devs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 on algo development etc.</a:t>
            </a:r>
          </a:p>
          <a:p>
            <a:pPr marL="0" marR="0" lvl="0" indent="0" algn="l" defTabSz="57600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A8276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lang="en-US" sz="24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4D1036-4D5E-CFD9-80C9-2A6B107C3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: </a:t>
            </a:r>
            <a:r>
              <a:rPr lang="en-US" dirty="0" err="1"/>
              <a:t>Ifxapp</a:t>
            </a:r>
            <a:r>
              <a:rPr lang="en-US" dirty="0"/>
              <a:t>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3E4CB5D-6627-C2F2-BEB3-286C6A324B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1736" y="2464962"/>
            <a:ext cx="5687999" cy="3935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9065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AE94562-74DC-D8D4-3D3D-61160807435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An </a:t>
            </a:r>
            <a:r>
              <a:rPr lang="en-US" b="1" dirty="0"/>
              <a:t>application</a:t>
            </a:r>
            <a:r>
              <a:rPr lang="en-US" dirty="0"/>
              <a:t> usually runs on a microcontroller (MCU) and </a:t>
            </a:r>
            <a:r>
              <a:rPr lang="en-US" b="1" dirty="0"/>
              <a:t>consists of</a:t>
            </a:r>
            <a:r>
              <a:rPr lang="en-US" dirty="0"/>
              <a:t>:</a:t>
            </a:r>
          </a:p>
          <a:p>
            <a:pPr lvl="1"/>
            <a:r>
              <a:rPr lang="en-US" dirty="0"/>
              <a:t>An </a:t>
            </a:r>
            <a:r>
              <a:rPr lang="en-US" b="1" dirty="0"/>
              <a:t>algorithm</a:t>
            </a:r>
            <a:r>
              <a:rPr lang="en-US" dirty="0"/>
              <a:t>* which processes data from a radar sensor (</a:t>
            </a:r>
            <a:r>
              <a:rPr lang="en-US" dirty="0" err="1"/>
              <a:t>Smartar</a:t>
            </a:r>
            <a:r>
              <a:rPr lang="en-US" dirty="0"/>
              <a:t>) and</a:t>
            </a:r>
          </a:p>
          <a:p>
            <a:pPr lvl="1"/>
            <a:r>
              <a:rPr lang="en-US" b="1" dirty="0"/>
              <a:t>Code to communicate</a:t>
            </a:r>
            <a:r>
              <a:rPr lang="en-US" dirty="0"/>
              <a:t> to a PC and to the actual radar sensor.</a:t>
            </a:r>
          </a:p>
          <a:p>
            <a:pPr lvl="1"/>
            <a:endParaRPr lang="en-US" dirty="0"/>
          </a:p>
          <a:p>
            <a:pPr marL="0" marR="0" lvl="0" indent="0" algn="l" defTabSz="57600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A8276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* The algorithm is usually implemented in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Matlab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 and converted to C by using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Matlab'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 code generation featur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An application is usually also </a:t>
            </a:r>
            <a:r>
              <a:rPr lang="en-US" b="1" dirty="0"/>
              <a:t>complemented by</a:t>
            </a:r>
            <a:r>
              <a:rPr lang="en-US" dirty="0"/>
              <a:t> a small </a:t>
            </a:r>
            <a:r>
              <a:rPr lang="en-US" b="1" dirty="0"/>
              <a:t>Python-based GUI</a:t>
            </a:r>
            <a:r>
              <a:rPr lang="en-US" dirty="0"/>
              <a:t> to visualize the radar data on host side.</a:t>
            </a:r>
          </a:p>
          <a:p>
            <a:pPr marL="0" indent="0">
              <a:buNone/>
            </a:pPr>
            <a:endParaRPr lang="de-DE" sz="12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FFEE42-731A-BF3E-FFD2-6E2DC02DFF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umption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88274AA-6507-FA1A-87F6-7EBF45F1DCD7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Content Placeholder 13" descr="A diagram of a computer program&#10;&#10;Description automatically generated with medium confidence">
            <a:extLst>
              <a:ext uri="{FF2B5EF4-FFF2-40B4-BE49-F238E27FC236}">
                <a16:creationId xmlns:a16="http://schemas.microsoft.com/office/drawing/2014/main" id="{80EAA2B4-78ED-F738-CE1C-9C75A09C61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460" y="1988840"/>
            <a:ext cx="5689600" cy="156735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4F5BED6-2437-3D59-421B-D6CD33919297}"/>
              </a:ext>
            </a:extLst>
          </p:cNvPr>
          <p:cNvSpPr txBox="1"/>
          <p:nvPr/>
        </p:nvSpPr>
        <p:spPr bwMode="auto">
          <a:xfrm>
            <a:off x="6987652" y="3886696"/>
            <a:ext cx="4065215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>
                <a:latin typeface="+mn-lt"/>
              </a:rPr>
              <a:t>Hardware components of an application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71707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35360" y="2134800"/>
            <a:ext cx="8137525" cy="683369"/>
          </a:xfrm>
        </p:spPr>
        <p:txBody>
          <a:bodyPr/>
          <a:lstStyle/>
          <a:p>
            <a:r>
              <a:rPr lang="de-DE"/>
              <a:t>Ifxapp: Overview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44282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CF05384-B30F-E951-FCD8-0BCFAB136A9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err="1"/>
              <a:t>Ifxapp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Offers </a:t>
            </a:r>
            <a:r>
              <a:rPr lang="en-US" b="1" dirty="0"/>
              <a:t>Qt GUI widgets</a:t>
            </a:r>
            <a:r>
              <a:rPr lang="en-US" dirty="0"/>
              <a:t> with a common look-and-feel to visualize algorithm events defined in </a:t>
            </a:r>
            <a:r>
              <a:rPr lang="en-US" dirty="0" err="1">
                <a:hlinkClick r:id="rId3" invalidUrl="https:///"/>
              </a:rPr>
              <a:t>ifxalgoapi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.e., </a:t>
            </a:r>
            <a:r>
              <a:rPr lang="en-US" dirty="0" err="1"/>
              <a:t>ifxapp</a:t>
            </a:r>
            <a:r>
              <a:rPr lang="en-US" dirty="0"/>
              <a:t> consumes </a:t>
            </a:r>
            <a:r>
              <a:rPr lang="en-US" dirty="0" err="1"/>
              <a:t>ifxalgoapi</a:t>
            </a:r>
            <a:r>
              <a:rPr lang="en-US" dirty="0"/>
              <a:t> events instead of ADC raw data!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F49A31-DF19-B148-F7AB-4DA02F2279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goals</a:t>
            </a: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5B2A7389-B148-331C-F8DA-9C4E01B6CF89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89502" y="1268413"/>
            <a:ext cx="3227661" cy="4032795"/>
          </a:xfr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98E37AB-AF20-C331-478D-7BC7F4736DA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00820" y="4409248"/>
            <a:ext cx="3156379" cy="2040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6362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CF05384-B30F-E951-FCD8-0BCFAB136A9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err="1"/>
              <a:t>Ifxapp</a:t>
            </a:r>
            <a:r>
              <a:rPr lang="en-US" dirty="0"/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Offers Qt GUI widgets with a common look-and-feel to visualize algorithm events defined in </a:t>
            </a:r>
            <a:r>
              <a:rPr lang="en-US" dirty="0" err="1">
                <a:hlinkClick r:id="rId3" invalidUrl="https:///"/>
              </a:rPr>
              <a:t>ifxalgoapi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.e., </a:t>
            </a:r>
            <a:r>
              <a:rPr lang="en-US" dirty="0" err="1"/>
              <a:t>ifxapp</a:t>
            </a:r>
            <a:r>
              <a:rPr lang="en-US" dirty="0"/>
              <a:t> consumes </a:t>
            </a:r>
            <a:r>
              <a:rPr lang="en-US" dirty="0" err="1"/>
              <a:t>ifxalgoapi</a:t>
            </a:r>
            <a:r>
              <a:rPr lang="en-US" dirty="0"/>
              <a:t> events instead of ADC raw data!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llows to quickly build </a:t>
            </a:r>
            <a:r>
              <a:rPr lang="en-US" b="1" dirty="0"/>
              <a:t>GUI main windows</a:t>
            </a:r>
            <a:r>
              <a:rPr lang="en-US" dirty="0"/>
              <a:t> for customer demos but also during algorithm development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F49A31-DF19-B148-F7AB-4DA02F2279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goals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597C5A63-E4A6-5B58-A728-687EE30A20D1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67438" y="1855969"/>
            <a:ext cx="5689600" cy="3938225"/>
          </a:xfrm>
        </p:spPr>
      </p:pic>
    </p:spTree>
    <p:extLst>
      <p:ext uri="{BB962C8B-B14F-4D97-AF65-F5344CB8AC3E}">
        <p14:creationId xmlns:p14="http://schemas.microsoft.com/office/powerpoint/2010/main" val="39758547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0GBAEGmsRCrWeMKWDzcgcEAAAAAAADAAAAAAADAAAAAwADAAIA////////BQAAAAMAEAAL1tOUau8zpU2NYkRIb9lDWQQAAAABAAMAAAACAAMAAAAEAAMAAAAAAAMAAAAEAAQAAgD///////8FAAAABAAQAAtU0aCsIfNqT7UjuaR5MIJh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XQYEAQaaxEKtZ4wpYPNyBwNEYXRhABsAAAAETGlua2VkU2hhcGVEYXRhAAUAAAAAAAJOYW1lABkAAABMaW5rZWRTaGFwZXNEYXRhUHJvcGVydHkAEFZlcnNpb24AAAAAAAlMYXN0V3JpdGUAQe86A4IBAAAAAQD/////gwCDAAAABV9pZAAQAAAABNbTlGrvM6VNjWJESG/ZQ1kDRGF0YQAbAAAABExpbmtlZFNoYXBlRGF0YQAFAAAAAAACTmFtZQAZAAAATGlua2VkU2hhcGVzRGF0YVByb3BlcnR5ABBWZXJzaW9uAAEAAAAJTGFzdFdyaXRlAPjPZFaOAQAAAAI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VCwAAAAAAAAAAAAAgAf///////////////wAAAP////////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GgAGTGlua2VkU2hhcGVzRGF0YVByb3BlcnR5XzAEAAAAAAAFAAAABAAFAAAAAwADAAIBAwAAAAMA////////GgAGTGlua2VkU2hhcGVzRGF0YVByb3BlcnR5XzEEAAAAAQAFAAAAAgAFAAAAAQAFAAAABAD///////8EAAIBAwAAAAQA////////JQAGTGlua2VkU2hhcGVQcmVzZW50YXRpb25TZXR0aW5nc0RhdGFfMAQAAAACAAUAAAAAAAUAAAACAAUAAAAAAAU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4432312502879"/>
  <p:tag name="EMPOWERCHARTSPROPERTIES_A_LENGTH" val="24576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MIO_AGENDA_OVERVIEW_SLIDE"/>
  <p:tag name="MIO_AGENDA_SHOW_SUBITEMS_LEVEL2_TAG" val="True"/>
  <p:tag name="MIO_AGENDA_SCALEMODE_FIT_TO_SLIDE_TAG" val="True"/>
  <p:tag name="MIO_AGENDA_CREATE_AGENDA_SLIDENUMBERS_TAG" val="True"/>
  <p:tag name="MIO_AGENDA_AUTOMATIC_UPDATE_TAG" val="True"/>
  <p:tag name="MIO_EKGUID" val="ef4b4f1d-6618-464a-b66c-d4f4252cfa03"/>
  <p:tag name="MIO_GUID" val="8a9841c6-be13-423f-b0fb-3228ad1a75bc"/>
  <p:tag name="MIO_VERSION" val="31.12.9999 23:59:59"/>
  <p:tag name="MIO_DBID" val="FDE84254-54DB-49E3-9A0E-CDE72035D530"/>
  <p:tag name="MIO_LASTDOWNLOADED" val="13.11.2024 11:23:06.349"/>
  <p:tag name="MIO_UPDATE" val="Fals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PAGENUMB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1eac06-60cf-4e2a-b262-cd729fbf75e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AGENDAPOINTSLIDE_SHAPE"/>
  <p:tag name="MIO_AGENDA_LEVEL_STRING" val="1"/>
  <p:tag name="MIO_AGENDA_ELEMENTNAME" val="Motivation"/>
  <p:tag name="MIO_AGENDA_EXPLICIT_ITEM_LEVEL_TAG" val="0"/>
  <p:tag name="MIO_AGENDA_NUMBER_STRING_TAG" val="1"/>
  <p:tag name="MIO_AGENDA_SHOW_SUBITEMS_LEVEL2_TAG" val="True"/>
  <p:tag name="MIO_AGENDA_SCALEMODE_FIT_TO_SLIDE_TAG" val="True"/>
  <p:tag name="MIO_AGENDA_CREATE_AGENDA_SLIDENUMBERS_TAG" val="True"/>
  <p:tag name="MIO_AGENDA_AUTOMATIC_UPDATE_TAG" val="True"/>
  <p:tag name="MIO_EKGUID" val="ef4b4f1d-6618-464a-b66c-d4f4252cfa03"/>
  <p:tag name="MIO_GUID" val="addc21df-724e-4c58-afd4-5a7cf411146e"/>
  <p:tag name="MIO_VERSION" val="31.12.9999 23:59:59"/>
  <p:tag name="MIO_DBID" val="FDE84254-54DB-49E3-9A0E-CDE72035D530"/>
  <p:tag name="MIO_LASTDOWNLOADED" val="13.11.2024 11:23:06.396"/>
  <p:tag name="MIO_UPDATE" val="Fals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1eac06-60cf-4e2a-b262-cd729fbf75e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AGENDAPOINTSLIDE_SHAPE"/>
  <p:tag name="MIO_AGENDA_LEVEL_STRING" val="2"/>
  <p:tag name="MIO_AGENDA_ELEMENTNAME" val="Ifxapp: Overview"/>
  <p:tag name="MIO_AGENDA_EXPLICIT_ITEM_LEVEL_TAG" val="0"/>
  <p:tag name="MIO_AGENDA_NUMBER_STRING_TAG" val="2"/>
  <p:tag name="MIO_AGENDA_SHOW_SUBITEMS_LEVEL2_TAG" val="True"/>
  <p:tag name="MIO_AGENDA_SCALEMODE_FIT_TO_SLIDE_TAG" val="True"/>
  <p:tag name="MIO_AGENDA_CREATE_AGENDA_SLIDENUMBERS_TAG" val="True"/>
  <p:tag name="MIO_AGENDA_AUTOMATIC_UPDATE_TAG" val="True"/>
  <p:tag name="MIO_EKGUID" val="ef4b4f1d-6618-464a-b66c-d4f4252cfa03"/>
  <p:tag name="MIO_GUID" val="2f61ba30-66c9-4c67-bd29-689cbbe9ee27"/>
  <p:tag name="MIO_VERSION" val="31.12.9999 23:59:59"/>
  <p:tag name="MIO_DBID" val="FDE84254-54DB-49E3-9A0E-CDE72035D530"/>
  <p:tag name="MIO_LASTDOWNLOADED" val="13.11.2024 11:23:06.607"/>
  <p:tag name="MIO_UPDATE" val="Fals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1eac06-60cf-4e2a-b262-cd729fbf75e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AGENDAPOINTSLIDE_SHAPE"/>
  <p:tag name="MIO_AGENDA_LEVEL_STRING" val="3"/>
  <p:tag name="MIO_AGENDA_ELEMENTNAME" val="Ifxapp: Demo"/>
  <p:tag name="MIO_AGENDA_EXPLICIT_ITEM_LEVEL_TAG" val="0"/>
  <p:tag name="MIO_AGENDA_NUMBER_STRING_TAG" val="3"/>
  <p:tag name="MIO_AGENDA_SHOW_SUBITEMS_LEVEL2_TAG" val="True"/>
  <p:tag name="MIO_AGENDA_SCALEMODE_FIT_TO_SLIDE_TAG" val="True"/>
  <p:tag name="MIO_AGENDA_CREATE_AGENDA_SLIDENUMBERS_TAG" val="True"/>
  <p:tag name="MIO_AGENDA_AUTOMATIC_UPDATE_TAG" val="True"/>
  <p:tag name="MIO_EKGUID" val="ef4b4f1d-6618-464a-b66c-d4f4252cfa03"/>
  <p:tag name="MIO_GUID" val="e80003d7-5909-4e59-97c4-f6d9f2953d7d"/>
  <p:tag name="MIO_VERSION" val="31.12.9999 23:59:59"/>
  <p:tag name="MIO_DBID" val="FDE84254-54DB-49E3-9A0E-CDE72035D530"/>
  <p:tag name="MIO_LASTDOWNLOADED" val="13.11.2024 11:23:06.617"/>
  <p:tag name="MIO_UPDATE" val="Fals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f8120ca7-cceb-428f-a7d0-f20ce9397e1b"/>
  <p:tag name="MIO_UPDATE" val="True"/>
  <p:tag name="MIO_DBID" val="FDE84254-54DB-49E3-9A0E-CDE72035D530"/>
  <p:tag name="MIO_OBJECTNAME" val="Infineon LCD 16:9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20"/>
  <p:tag name="MIO_FALLBACK_LAYOUT" val="6"/>
  <p:tag name="MIO_VERSION" val="21.10.2024 09:35:17"/>
  <p:tag name="MIO_LASTDOWNLOADED" val="25.10.2024 09:16:03.530"/>
  <p:tag name="MIO_CONTENTTAG" val="31FNeEH/6Eu/4ztoiyaJsw==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.pptx" id="{709C2F7E-961E-4199-9417-E6F2BE55EC0D}" vid="{59BE1659-8F98-419B-B9ED-D5D0E4C5D828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4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Props1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299A1D5-F553-4264-9022-E0136C61CE27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purl.org/dc/terms/"/>
    <ds:schemaRef ds:uri="a709603d-609a-478b-a91d-3c5e984c0e79"/>
    <ds:schemaRef ds:uri="6ef45842-284e-44e4-b2db-1749e7948b44"/>
    <ds:schemaRef ds:uri="http://schemas.microsoft.com/office/infopath/2007/PartnerControls"/>
    <ds:schemaRef ds:uri="http://schemas.openxmlformats.org/package/2006/metadata/core-properties"/>
  </ds:schemaRefs>
</ds:datastoreItem>
</file>

<file path=customXml/itemProps4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586</Words>
  <Application>Microsoft Office PowerPoint</Application>
  <PresentationFormat>Widescreen</PresentationFormat>
  <Paragraphs>215</Paragraphs>
  <Slides>20</Slides>
  <Notes>16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ourier New</vt:lpstr>
      <vt:lpstr>Segoe UI</vt:lpstr>
      <vt:lpstr>Infineon 16:9</vt:lpstr>
      <vt:lpstr>Ifxapp A reusable Python-based Qt widget library for radar applications</vt:lpstr>
      <vt:lpstr>Table of contents</vt:lpstr>
      <vt:lpstr>Motivation</vt:lpstr>
      <vt:lpstr>Motivation: Ifxapp </vt:lpstr>
      <vt:lpstr>Motivation: Ifxapp </vt:lpstr>
      <vt:lpstr>Assumptions</vt:lpstr>
      <vt:lpstr>Ifxapp: Overview</vt:lpstr>
      <vt:lpstr>Project goals</vt:lpstr>
      <vt:lpstr>Project goals</vt:lpstr>
      <vt:lpstr>Project goals</vt:lpstr>
      <vt:lpstr>Ifxapp: Feature overview and event sources</vt:lpstr>
      <vt:lpstr>Software architecture</vt:lpstr>
      <vt:lpstr>Project setup</vt:lpstr>
      <vt:lpstr>Project setup</vt:lpstr>
      <vt:lpstr>Outlook</vt:lpstr>
      <vt:lpstr>Ifxapp: Demos</vt:lpstr>
      <vt:lpstr>Demos</vt:lpstr>
      <vt:lpstr>Demos</vt:lpstr>
      <vt:lpstr>Demos</vt:lpstr>
      <vt:lpstr>How to get started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leinmeier Benedikt (PSS RFS DS SW APP)</dc:creator>
  <cp:lastModifiedBy>Kleinmeier Benedikt (PSS RFS DS SW APP)</cp:lastModifiedBy>
  <cp:revision>15</cp:revision>
  <dcterms:created xsi:type="dcterms:W3CDTF">2024-11-13T05:58:43Z</dcterms:created>
  <dcterms:modified xsi:type="dcterms:W3CDTF">2025-04-25T21:54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fals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4-10-21T09:34:04Z</vt:filetime>
  </property>
  <property fmtid="{D5CDD505-2E9C-101B-9397-08002B2CF9AE}" pid="15" name="empower.integration.Classification.DateFormat">
    <vt:lpwstr>yyyy-MM-dd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